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858000" cy="9296400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>
      <p:ext uri="{19B8F6BF-5375-455C-9EA6-DF929625EA0E}">
        <p15:presenceInfo xmlns:p15="http://schemas.microsoft.com/office/powerpoint/2012/main" userId="S::i.chikovani@curatio.com::88c3af89-cfad-4844-9d52-51bd03c65758" providerId="AD"/>
      </p:ext>
    </p:extLst>
  </p:cmAuthor>
  <p:cmAuthor id="3" name="Miloud KADDAR" initials="MK" lastIdx="8" clrIdx="3">
    <p:extLst>
      <p:ext uri="{19B8F6BF-5375-455C-9EA6-DF929625EA0E}">
        <p15:presenceInfo xmlns:p15="http://schemas.microsoft.com/office/powerpoint/2012/main" userId="2ac54f14310cc946" providerId="Windows Live"/>
      </p:ext>
    </p:extLst>
  </p:cmAuthor>
  <p:cmAuthor id="4" name="Leah Ewald" initials="LE" lastIdx="8" clrIdx="4">
    <p:extLst>
      <p:ext uri="{19B8F6BF-5375-455C-9EA6-DF929625EA0E}">
        <p15:presenceInfo xmlns:p15="http://schemas.microsoft.com/office/powerpoint/2012/main" userId="S::lewald@r4d.org::7118da4b-819b-4dd8-a310-f160306ece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BCC"/>
    <a:srgbClr val="CFE3FC"/>
    <a:srgbClr val="E5FCBE"/>
    <a:srgbClr val="00A6B6"/>
    <a:srgbClr val="A80A4B"/>
    <a:srgbClr val="CAEF00"/>
    <a:srgbClr val="00E8FF"/>
    <a:srgbClr val="07E1F5"/>
    <a:srgbClr val="CB1C6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23" autoAdjust="0"/>
    <p:restoredTop sz="94769" autoAdjust="0"/>
  </p:normalViewPr>
  <p:slideViewPr>
    <p:cSldViewPr snapToGrid="0">
      <p:cViewPr>
        <p:scale>
          <a:sx n="120" d="100"/>
          <a:sy n="120" d="100"/>
        </p:scale>
        <p:origin x="544" y="-1368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lome Keshelashvili" userId="S::s.keshelashvili@curatio.com::2a5b5c28-ef64-49cc-951f-9bbed20db8ff" providerId="AD" clId="Web-{9854C8F4-DCEC-05E4-0984-60EE237CCE32}"/>
    <pc:docChg chg="modSld">
      <pc:chgData name="Salome Keshelashvili" userId="S::s.keshelashvili@curatio.com::2a5b5c28-ef64-49cc-951f-9bbed20db8ff" providerId="AD" clId="Web-{9854C8F4-DCEC-05E4-0984-60EE237CCE32}" dt="2019-04-03T00:51:17.447" v="6"/>
      <pc:docMkLst>
        <pc:docMk/>
      </pc:docMkLst>
      <pc:sldChg chg="addSp delSp modSp">
        <pc:chgData name="Salome Keshelashvili" userId="S::s.keshelashvili@curatio.com::2a5b5c28-ef64-49cc-951f-9bbed20db8ff" providerId="AD" clId="Web-{9854C8F4-DCEC-05E4-0984-60EE237CCE32}" dt="2019-04-03T00:51:17.447" v="6"/>
        <pc:sldMkLst>
          <pc:docMk/>
          <pc:sldMk cId="2642579564" sldId="280"/>
        </pc:sldMkLst>
        <pc:graphicFrameChg chg="mod modGraphic">
          <ac:chgData name="Salome Keshelashvili" userId="S::s.keshelashvili@curatio.com::2a5b5c28-ef64-49cc-951f-9bbed20db8ff" providerId="AD" clId="Web-{9854C8F4-DCEC-05E4-0984-60EE237CCE32}" dt="2019-04-03T00:51:17.447" v="6"/>
          <ac:graphicFrameMkLst>
            <pc:docMk/>
            <pc:sldMk cId="2642579564" sldId="280"/>
            <ac:graphicFrameMk id="2" creationId="{012D9F14-C32A-4FFF-9B14-F9E0CB4F8B47}"/>
          </ac:graphicFrameMkLst>
        </pc:graphicFrameChg>
        <pc:picChg chg="add mod">
          <ac:chgData name="Salome Keshelashvili" userId="S::s.keshelashvili@curatio.com::2a5b5c28-ef64-49cc-951f-9bbed20db8ff" providerId="AD" clId="Web-{9854C8F4-DCEC-05E4-0984-60EE237CCE32}" dt="2019-04-03T00:50:46.307" v="4" actId="14100"/>
          <ac:picMkLst>
            <pc:docMk/>
            <pc:sldMk cId="2642579564" sldId="280"/>
            <ac:picMk id="3" creationId="{8E33DBAB-D91D-43D6-ACB3-A9D0B0D80254}"/>
          </ac:picMkLst>
        </pc:picChg>
        <pc:picChg chg="del">
          <ac:chgData name="Salome Keshelashvili" userId="S::s.keshelashvili@curatio.com::2a5b5c28-ef64-49cc-951f-9bbed20db8ff" providerId="AD" clId="Web-{9854C8F4-DCEC-05E4-0984-60EE237CCE32}" dt="2019-04-03T00:50:29.900" v="0"/>
          <ac:picMkLst>
            <pc:docMk/>
            <pc:sldMk cId="2642579564" sldId="280"/>
            <ac:picMk id="70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4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www.lnct.globa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1377377"/>
            <a:ext cx="12801600" cy="84590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174686" y="6261041"/>
            <a:ext cx="8370897" cy="27191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72767" y="6338111"/>
            <a:ext cx="8063007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V. </a:t>
            </a:r>
            <a:r>
              <a:rPr lang="ru-RU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роблемы</a:t>
            </a:r>
            <a:endParaRPr lang="en-US" sz="17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801600" cy="1578390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380603" y="201414"/>
            <a:ext cx="11934825" cy="117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ts val="175"/>
              </a:spcAft>
            </a:pPr>
            <a:r>
              <a:rPr lang="ru-RU" sz="3200" b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спублика Северная Македония</a:t>
            </a:r>
            <a:endParaRPr lang="en-US" sz="32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Aft>
                <a:spcPts val="175"/>
              </a:spcAft>
            </a:pPr>
            <a:r>
              <a:rPr lang="ru-RU" sz="2100" b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минар по закупке вакцин</a:t>
            </a:r>
            <a:endParaRPr lang="en-US" sz="2100" b="1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ru-RU" sz="1600" b="1" i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билиси, апрель </a:t>
            </a:r>
            <a:r>
              <a:rPr lang="en-US" sz="1600" b="1" i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1600" b="1" i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.</a:t>
            </a:r>
            <a:endParaRPr lang="en-US" sz="260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0" y="1574292"/>
            <a:ext cx="12801600" cy="13335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564369" y="1663139"/>
            <a:ext cx="4062546" cy="4566671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577227" y="1851537"/>
            <a:ext cx="4049687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II. </a:t>
            </a:r>
            <a:r>
              <a:rPr lang="ru-RU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а вакцин на практике</a:t>
            </a:r>
            <a:endParaRPr lang="en-US" sz="17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9" y="9206726"/>
            <a:ext cx="2066733" cy="532486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6075944" y="9206726"/>
            <a:ext cx="1771221" cy="660918"/>
          </a:xfrm>
          <a:prstGeom prst="rect">
            <a:avLst/>
          </a:prstGeom>
        </p:spPr>
      </p:pic>
      <p:sp>
        <p:nvSpPr>
          <p:cNvPr id="41" name="Text Box 49"/>
          <p:cNvSpPr txBox="1">
            <a:spLocks noChangeArrowheads="1"/>
          </p:cNvSpPr>
          <p:nvPr/>
        </p:nvSpPr>
        <p:spPr bwMode="auto">
          <a:xfrm>
            <a:off x="-3740497" y="-2895689"/>
            <a:ext cx="1319701" cy="944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300" b="1" dirty="0">
                <a:solidFill>
                  <a:schemeClr val="bg2"/>
                </a:solidFill>
                <a:latin typeface="Arial"/>
                <a:cs typeface="Arial"/>
              </a:rPr>
              <a:t>Country Flag</a:t>
            </a:r>
          </a:p>
          <a:p>
            <a:pPr eaLnBrk="1" hangingPunct="1">
              <a:spcBef>
                <a:spcPct val="50000"/>
              </a:spcBef>
            </a:pPr>
            <a:endParaRPr lang="en-US" sz="8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4222228" y="1741887"/>
            <a:ext cx="4285668" cy="4487924"/>
            <a:chOff x="3842875" y="1771625"/>
            <a:chExt cx="4492902" cy="4392248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842875" y="1771625"/>
              <a:ext cx="4492902" cy="4392248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 dirty="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3936931" y="1889630"/>
              <a:ext cx="4022394" cy="329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700" b="1" dirty="0">
                  <a:solidFill>
                    <a:srgbClr val="CB1C68"/>
                  </a:solidFill>
                  <a:latin typeface="Arial"/>
                  <a:cs typeface="Arial"/>
                </a:rPr>
                <a:t>II. </a:t>
              </a:r>
              <a:r>
                <a:rPr lang="ru-RU" sz="1700" b="1" dirty="0">
                  <a:solidFill>
                    <a:srgbClr val="CB1C6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рганиграмма по закупкам вакцин</a:t>
              </a:r>
              <a:endParaRPr lang="en-US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3936930" y="2762508"/>
              <a:ext cx="1638276" cy="552918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Министерство Здравоохранения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AC8067D-921B-C346-8518-197995E67630}"/>
                </a:ext>
              </a:extLst>
            </p:cNvPr>
            <p:cNvCxnSpPr>
              <a:cxnSpLocks/>
              <a:endCxn id="77" idx="0"/>
            </p:cNvCxnSpPr>
            <p:nvPr/>
          </p:nvCxnSpPr>
          <p:spPr>
            <a:xfrm>
              <a:off x="4761704" y="3304712"/>
              <a:ext cx="0" cy="639954"/>
            </a:xfrm>
            <a:prstGeom prst="straightConnector1">
              <a:avLst/>
            </a:prstGeom>
            <a:ln w="38100" cmpd="sng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6678369" y="2868697"/>
              <a:ext cx="1476963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Министерство Финансов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812574" y="5098787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онтракторы</a:t>
              </a:r>
              <a:endParaRPr lang="en-US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2" name="Elbow Connector 81">
              <a:extLst>
                <a:ext uri="{FF2B5EF4-FFF2-40B4-BE49-F238E27FC236}">
                  <a16:creationId xmlns:a16="http://schemas.microsoft.com/office/drawing/2014/main" id="{E711F621-55EB-2648-AC57-53674B5D8BF8}"/>
                </a:ext>
              </a:extLst>
            </p:cNvPr>
            <p:cNvCxnSpPr>
              <a:cxnSpLocks/>
            </p:cNvCxnSpPr>
            <p:nvPr/>
          </p:nvCxnSpPr>
          <p:spPr>
            <a:xfrm>
              <a:off x="4617914" y="4520202"/>
              <a:ext cx="2238349" cy="639826"/>
            </a:xfrm>
            <a:prstGeom prst="bentConnector3">
              <a:avLst>
                <a:gd name="adj1" fmla="val 548"/>
              </a:avLst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4971543" y="5422562"/>
              <a:ext cx="1450884" cy="483465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гентство госзакупок</a:t>
              </a:r>
              <a:endParaRPr lang="en-US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  <a:stCxn id="22" idx="3"/>
              <a:endCxn id="78" idx="1"/>
            </p:cNvCxnSpPr>
            <p:nvPr/>
          </p:nvCxnSpPr>
          <p:spPr>
            <a:xfrm>
              <a:off x="5575206" y="3038967"/>
              <a:ext cx="1103163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405420" y="3228374"/>
              <a:ext cx="1442736" cy="26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/>
                <a:t>     финансирование</a:t>
              </a:r>
              <a:endParaRPr lang="en-US" sz="9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514747" y="2686756"/>
              <a:ext cx="1039176" cy="26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/>
                <a:t>планирование</a:t>
              </a:r>
              <a:endParaRPr lang="en-US" sz="900" dirty="0"/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3898216" y="3944666"/>
              <a:ext cx="1726975" cy="536107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05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епартамент первичной и профилактической помощи</a:t>
              </a:r>
              <a:endParaRPr lang="en-US" sz="105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  <a:stCxn id="5" idx="0"/>
              <a:endCxn id="77" idx="3"/>
            </p:cNvCxnSpPr>
            <p:nvPr/>
          </p:nvCxnSpPr>
          <p:spPr>
            <a:xfrm rot="16200000" flipV="1">
              <a:off x="6066221" y="3771690"/>
              <a:ext cx="886067" cy="1768126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915803" y="3995352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ru-RU" sz="105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Таможня</a:t>
              </a:r>
              <a:endParaRPr lang="en-US" sz="105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4777981" y="5197241"/>
              <a:ext cx="1450884" cy="20618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ru-RU" sz="1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Местные закупки</a:t>
              </a:r>
              <a:endParaRPr lang="en-US" sz="1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315" y="1663140"/>
            <a:ext cx="4015440" cy="4566670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088" y="1684006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. </a:t>
            </a:r>
            <a:r>
              <a:rPr lang="ru-RU" sz="1700" b="1" dirty="0">
                <a:solidFill>
                  <a:srgbClr val="CB1C68"/>
                </a:solidFill>
                <a:latin typeface="Arial"/>
                <a:cs typeface="Arial"/>
              </a:rPr>
              <a:t>Что и как</a:t>
            </a:r>
            <a:endParaRPr lang="en-US" sz="17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727648" y="2251810"/>
            <a:ext cx="3819774" cy="392718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" indent="0" hangingPunct="0"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о-правовая база</a:t>
            </a:r>
          </a:p>
          <a:p>
            <a:pPr marL="9525" indent="0" hangingPunct="0"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 «О государственных закупках»</a:t>
            </a:r>
            <a:endParaRPr lang="mk-MK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 hangingPunct="0"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он «О лекарственных средствах»</a:t>
            </a:r>
            <a:endParaRPr lang="mk-MK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ации ВОЗ по качеству вакцин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9525" indent="0"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авние внедрения вакцин</a:t>
            </a:r>
            <a:endParaRPr lang="en-US" sz="1100" b="1" strike="sngStrike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КДС-ИПВ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lnSpc>
                <a:spcPct val="107000"/>
              </a:lnSpc>
              <a:buNone/>
            </a:pPr>
            <a:r>
              <a:rPr lang="mk-MK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вакцина – противостолбнячная-ИПВ</a:t>
            </a:r>
            <a:endParaRPr lang="mk-MK" sz="11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 и источники финансирования вакцин</a:t>
            </a: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ства на закупку вакцин поступают из бюджета Республики Северная Македония и предусмотрены в годовой программе иммунизации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9525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и информации о рынке вакцин и ценах </a:t>
            </a:r>
            <a:br>
              <a:rPr lang="en-US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естр лекарственных средств</a:t>
            </a:r>
            <a:endParaRPr lang="en-GB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тодология формирования уникальных цен на лекарственные средства</a:t>
            </a:r>
            <a:endParaRPr lang="mk-MK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и избыточные запасы</a:t>
            </a: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ие операторы не представили предложения по определенным вакцинам</a:t>
            </a:r>
            <a:endParaRPr lang="mk-MK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угие аспекты </a:t>
            </a:r>
            <a:r>
              <a:rPr lang="en-US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  <a:endParaRPr lang="en-US" sz="8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" indent="0">
              <a:buClr>
                <a:srgbClr val="00B0F0"/>
              </a:buClr>
              <a:buNone/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endParaRPr lang="en-US" sz="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227" y="6261041"/>
            <a:ext cx="4027084" cy="27191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3993" y="6405571"/>
            <a:ext cx="2867025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. </a:t>
            </a:r>
            <a:r>
              <a:rPr lang="ru-RU" sz="17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льнейшее развитие</a:t>
            </a:r>
            <a:endParaRPr lang="en-US" sz="17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683316" y="6729089"/>
            <a:ext cx="3943598" cy="225106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ие основные проблемы могут возникнуть в течение следующих 3 лет</a:t>
            </a:r>
            <a:r>
              <a:rPr lang="en-US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pPr indent="-2857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buClr>
                <a:srgbClr val="00B0F0"/>
              </a:buClr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доверие к вакцинам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buClr>
                <a:srgbClr val="00B0F0"/>
              </a:buClr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новых вакцин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Clr>
                <a:srgbClr val="00B0F0"/>
              </a:buClr>
              <a:buNone/>
            </a:pPr>
            <a:r>
              <a:rPr lang="ru-RU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ие навыки, инструменты и поддержка могут Вам потребоваться для повышения эффективности закупок вакцин и внедрения новых вакцин в ближайшем будущем</a:t>
            </a:r>
            <a:r>
              <a:rPr lang="en-US" sz="1100" b="1" dirty="0">
                <a:solidFill>
                  <a:srgbClr val="0099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 </a:t>
            </a:r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Clr>
                <a:srgbClr val="00B0F0"/>
              </a:buClr>
              <a:buNone/>
            </a:pP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Clr>
                <a:srgbClr val="00B0F0"/>
              </a:buClr>
              <a:buNone/>
            </a:pP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потенциала персонала, занимающегося закупками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endParaRPr lang="en-US" sz="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9099" y="6780228"/>
            <a:ext cx="1736010" cy="1927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5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ясняющие факторы</a:t>
            </a:r>
            <a:endParaRPr lang="en-US" sz="15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50000"/>
              </a:spcBef>
            </a:pPr>
            <a:endParaRPr lang="en-US" sz="5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лая страна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лые количества, которые будут закуплены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2228" y="6746601"/>
            <a:ext cx="2460570" cy="2289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6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ягчающие механизмы</a:t>
            </a:r>
          </a:p>
          <a:p>
            <a:pPr eaLnBrk="1" hangingPunct="1">
              <a:spcBef>
                <a:spcPct val="50000"/>
              </a:spcBef>
            </a:pPr>
            <a:endParaRPr lang="en-US" sz="6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многолетних госзакупок</a:t>
            </a:r>
            <a:endParaRPr lang="mk-MK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ача заново заявок по определенным вакцинам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а одним учреждением для нужд нескольких учреждений</a:t>
            </a:r>
            <a:endParaRPr lang="mk-MK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ые закупки вакцин против гриппа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2599" y="6793968"/>
            <a:ext cx="1832469" cy="1968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5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ые решения</a:t>
            </a:r>
            <a:endParaRPr lang="en-US" sz="1500" b="1" dirty="0">
              <a:solidFill>
                <a:srgbClr val="CB1C6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sz="5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ноголетние госзакупки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нтрализованные закупки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171" y="6729089"/>
            <a:ext cx="2164928" cy="2053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600" b="1" dirty="0">
                <a:solidFill>
                  <a:srgbClr val="CB1C6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</a:t>
            </a:r>
          </a:p>
          <a:p>
            <a:pPr eaLnBrk="1" hangingPunct="1">
              <a:spcBef>
                <a:spcPct val="50000"/>
              </a:spcBef>
            </a:pPr>
            <a:endParaRPr lang="ka-GE" sz="500" b="1" dirty="0">
              <a:solidFill>
                <a:srgbClr val="CB1C68"/>
              </a:solidFill>
              <a:latin typeface="Arial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иск дефицита вакцин</a:t>
            </a:r>
            <a:endParaRPr lang="mk-MK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необходимого количества от производителя в течение предусмотренного периода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лое количество вакцин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доверие к вакцинам</a:t>
            </a:r>
            <a:endParaRPr lang="en-US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12D9F14-C32A-4FFF-9B14-F9E0CB4F8B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203815"/>
              </p:ext>
            </p:extLst>
          </p:nvPr>
        </p:nvGraphicFramePr>
        <p:xfrm>
          <a:off x="194554" y="1710712"/>
          <a:ext cx="3931748" cy="4522671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984263">
                  <a:extLst>
                    <a:ext uri="{9D8B030D-6E8A-4147-A177-3AD203B41FA5}">
                      <a16:colId xmlns:a16="http://schemas.microsoft.com/office/drawing/2014/main" val="1244366721"/>
                    </a:ext>
                  </a:extLst>
                </a:gridCol>
                <a:gridCol w="839972">
                  <a:extLst>
                    <a:ext uri="{9D8B030D-6E8A-4147-A177-3AD203B41FA5}">
                      <a16:colId xmlns:a16="http://schemas.microsoft.com/office/drawing/2014/main" val="2588801751"/>
                    </a:ext>
                  </a:extLst>
                </a:gridCol>
                <a:gridCol w="1063256">
                  <a:extLst>
                    <a:ext uri="{9D8B030D-6E8A-4147-A177-3AD203B41FA5}">
                      <a16:colId xmlns:a16="http://schemas.microsoft.com/office/drawing/2014/main" val="254018630"/>
                    </a:ext>
                  </a:extLst>
                </a:gridCol>
                <a:gridCol w="1044257">
                  <a:extLst>
                    <a:ext uri="{9D8B030D-6E8A-4147-A177-3AD203B41FA5}">
                      <a16:colId xmlns:a16="http://schemas.microsoft.com/office/drawing/2014/main" val="3825048091"/>
                    </a:ext>
                  </a:extLst>
                </a:gridCol>
              </a:tblGrid>
              <a:tr h="3631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</a:t>
                      </a:r>
                      <a:endParaRPr lang="mk-MK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ECB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форма</a:t>
                      </a:r>
                      <a:endParaRPr lang="mk-MK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ECB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итель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на за дозу 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л. США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mk-MK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ECB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ханизм закупок</a:t>
                      </a:r>
                      <a:endParaRPr lang="mk-MK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FEC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321236"/>
                  </a:ext>
                </a:extLst>
              </a:tr>
              <a:tr h="16944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патит </a:t>
                      </a:r>
                      <a:r>
                        <a:rPr lang="en-GB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SK/ 0.58 USD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776491732"/>
                  </a:ext>
                </a:extLst>
              </a:tr>
              <a:tr h="16944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ЦЖ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B NCIPD /</a:t>
                      </a:r>
                      <a:r>
                        <a:rPr lang="mk-MK" sz="800" b="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01832</a:t>
                      </a:r>
                      <a:endParaRPr lang="mk-MK" sz="8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33700494"/>
                  </a:ext>
                </a:extLst>
              </a:tr>
              <a:tr h="266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нтавалентная</a:t>
                      </a:r>
                      <a:r>
                        <a:rPr lang="en-US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nofi/  </a:t>
                      </a:r>
                      <a:r>
                        <a:rPr lang="mk-MK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4274017"/>
                  </a:ext>
                </a:extLst>
              </a:tr>
              <a:tr h="266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ксавалентная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nofi/  </a:t>
                      </a:r>
                      <a:r>
                        <a:rPr lang="mk-MK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78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771553558"/>
                  </a:ext>
                </a:extLst>
              </a:tr>
              <a:tr h="19365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RP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SD/6.87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24214256"/>
                  </a:ext>
                </a:extLst>
              </a:tr>
              <a:tr h="19365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ио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</a:t>
                      </a: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nofi / 1.57 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885816978"/>
                  </a:ext>
                </a:extLst>
              </a:tr>
              <a:tr h="266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ПЧ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SD/</a:t>
                      </a:r>
                      <a:r>
                        <a:rPr lang="mk-MK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.78 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72054146"/>
                  </a:ext>
                </a:extLst>
              </a:tr>
              <a:tr h="36310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ивостолбнячная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</a:t>
                      </a: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B NCIPD/</a:t>
                      </a:r>
                      <a:r>
                        <a:rPr lang="mk-MK" sz="800" b="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.31 </a:t>
                      </a:r>
                      <a:endParaRPr lang="en-US" sz="800" b="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855747348"/>
                  </a:ext>
                </a:extLst>
              </a:tr>
              <a:tr h="26627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ДС-ИПВ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</a:t>
                      </a:r>
                      <a:r>
                        <a:rPr lang="ru-RU" sz="800" baseline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спользуется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824198402"/>
                  </a:ext>
                </a:extLst>
              </a:tr>
              <a:tr h="55676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mk-MK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вакцина – противостолбнячная-ИПВ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</a:t>
                      </a:r>
                      <a:r>
                        <a:rPr lang="ru-RU" sz="800" baseline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спользуется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76496520"/>
                  </a:ext>
                </a:extLst>
              </a:tr>
              <a:tr h="36310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тавирусная вакцин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SD/</a:t>
                      </a:r>
                      <a:r>
                        <a:rPr lang="mk-MK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.56 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645795519"/>
                  </a:ext>
                </a:extLst>
              </a:tr>
              <a:tr h="65359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от стрептококковой пневмонии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зовая</a:t>
                      </a:r>
                      <a:r>
                        <a:rPr lang="ru-RU" sz="800" kern="1200" baseline="0" dirty="0"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оза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YETH/ </a:t>
                      </a:r>
                      <a:r>
                        <a:rPr lang="mk-MK" sz="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.13 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закупки - МЗ</a:t>
                      </a: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mk-MK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90212386"/>
                  </a:ext>
                </a:extLst>
              </a:tr>
            </a:tbl>
          </a:graphicData>
        </a:graphic>
      </p:graphicFrame>
      <p:pic>
        <p:nvPicPr>
          <p:cNvPr id="4098" name="Picture 2" descr="Macedonia flag vector - free download">
            <a:extLst>
              <a:ext uri="{FF2B5EF4-FFF2-40B4-BE49-F238E27FC236}">
                <a16:creationId xmlns:a16="http://schemas.microsoft.com/office/drawing/2014/main" id="{FD24DF46-7EFA-4447-8CED-8EC764A95E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42878" cy="1236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ECCB9CBC-5242-44C9-BBBE-0111AE93046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8659" y="0"/>
            <a:ext cx="1482941" cy="1486894"/>
          </a:xfrm>
          <a:prstGeom prst="rect">
            <a:avLst/>
          </a:prstGeom>
        </p:spPr>
      </p:pic>
      <p:pic>
        <p:nvPicPr>
          <p:cNvPr id="48" name="Picture 4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ED193BE2-C51A-4C17-A575-E560810B8511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302" y="9206726"/>
            <a:ext cx="3429625" cy="597724"/>
          </a:xfrm>
          <a:prstGeom prst="rect">
            <a:avLst/>
          </a:prstGeom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8E33DBAB-D91D-43D6-ACB3-A9D0B0D802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8423" y="9093485"/>
            <a:ext cx="1575759" cy="632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documentManagement/types"/>
    <ds:schemaRef ds:uri="2af4539b-39f3-4771-ac1a-16de5a20c394"/>
    <ds:schemaRef ds:uri="http://purl.org/dc/elements/1.1/"/>
    <ds:schemaRef ds:uri="http://www.w3.org/XML/1998/namespace"/>
    <ds:schemaRef ds:uri="http://purl.org/dc/terms/"/>
    <ds:schemaRef ds:uri="768c69c3-fa35-427a-bd39-62ed8a1a923f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5C9643C-04BE-43BB-AF62-355E3570E623}"/>
</file>

<file path=customXml/itemProps3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95</TotalTime>
  <Words>384</Words>
  <Application>Microsoft Macintosh PowerPoint</Application>
  <PresentationFormat>A3 Paper (297x420 mm)</PresentationFormat>
  <Paragraphs>1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Times New Roman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348</cp:revision>
  <cp:lastPrinted>2018-06-28T08:33:47Z</cp:lastPrinted>
  <dcterms:created xsi:type="dcterms:W3CDTF">2013-09-25T20:04:22Z</dcterms:created>
  <dcterms:modified xsi:type="dcterms:W3CDTF">2019-04-04T17:5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